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330" r:id="rId3"/>
    <p:sldId id="313" r:id="rId4"/>
    <p:sldId id="328" r:id="rId5"/>
    <p:sldId id="329" r:id="rId6"/>
    <p:sldId id="334" r:id="rId7"/>
    <p:sldId id="332" r:id="rId8"/>
    <p:sldId id="333" r:id="rId9"/>
    <p:sldId id="331" r:id="rId10"/>
    <p:sldId id="335" r:id="rId11"/>
    <p:sldId id="336" r:id="rId12"/>
    <p:sldId id="337" r:id="rId13"/>
  </p:sldIdLst>
  <p:sldSz cx="12192000" cy="6858000"/>
  <p:notesSz cx="6797675" cy="9926638"/>
  <p:embeddedFontLst>
    <p:embeddedFont>
      <p:font typeface="Panton" panose="020B0604020202020204" charset="-52"/>
      <p:regular r:id="rId16"/>
      <p:bold r:id="rId17"/>
    </p:embeddedFont>
    <p:embeddedFont>
      <p:font typeface="Calibri Light" panose="020F0302020204030204" pitchFamily="34" charset="0"/>
      <p:regular r:id="rId18"/>
      <p:italic r:id="rId19"/>
    </p:embeddedFont>
    <p:embeddedFont>
      <p:font typeface="Panton Bold" panose="020B0604020202020204" charset="-52"/>
      <p:bold r:id="rId20"/>
    </p:embeddedFont>
    <p:embeddedFont>
      <p:font typeface="Calibri" panose="020F0502020204030204" pitchFamily="34" charset="0"/>
      <p:regular r:id="rId21"/>
      <p:bold r:id="rId22"/>
      <p:italic r:id="rId23"/>
      <p:boldItalic r:id="rId24"/>
    </p:embeddedFont>
    <p:embeddedFont>
      <p:font typeface="Panton SemiBold" panose="020B0604020202020204" charset="-52"/>
      <p:bold r:id="rId25"/>
    </p:embeddedFont>
  </p:embeddedFontLst>
  <p:custDataLst>
    <p:tags r:id="rId26"/>
  </p:custDataLst>
  <p:defaultTextStyle>
    <a:defPPr>
      <a:defRPr lang="x-non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Царь ." initials="Ц.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3D99"/>
    <a:srgbClr val="3494CD"/>
    <a:srgbClr val="2A6BA6"/>
    <a:srgbClr val="536887"/>
    <a:srgbClr val="EF4247"/>
    <a:srgbClr val="FF7C80"/>
    <a:srgbClr val="6699FF"/>
    <a:srgbClr val="66FFFF"/>
    <a:srgbClr val="CCFF33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7" autoAdjust="0"/>
    <p:restoredTop sz="91187" autoAdjust="0"/>
  </p:normalViewPr>
  <p:slideViewPr>
    <p:cSldViewPr snapToGrid="0" snapToObjects="1">
      <p:cViewPr varScale="1">
        <p:scale>
          <a:sx n="101" d="100"/>
          <a:sy n="101" d="100"/>
        </p:scale>
        <p:origin x="738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3" d="100"/>
          <a:sy n="93" d="100"/>
        </p:scale>
        <p:origin x="3784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74360EA-D26A-50EF-5562-23528C2BB27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A9ABD5-F164-D503-3416-DF0210A2039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61DF06-28A0-B948-9048-FC086E01C014}" type="datetimeFigureOut">
              <a:rPr lang="x-none" smtClean="0"/>
              <a:t>20.03.2026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57B3-4992-D678-00C0-C7F2A39F59B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945179-E3EC-B650-F577-1B3DB4A0FC5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F2E7F5-4495-E24D-8218-5274570BE5F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500350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6F3A14-DCB4-9C45-A8D5-861FBA55E65C}" type="datetimeFigureOut">
              <a:rPr lang="x-none" smtClean="0"/>
              <a:t>20.03.2026</a:t>
            </a:fld>
            <a:endParaRPr lang="x-non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x-non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DCB44A-2A57-334E-9DB0-B83F63683EA5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140897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B14EF91-FC9D-52CB-8752-9E72E7652E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0" y="-2856443"/>
            <a:ext cx="12192000" cy="66590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68B3A7-F6A5-B3EF-0B1B-2BD8D30781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25B868-6340-D21D-18E2-7EAE865543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315A07-25C0-1ED2-5EC3-52646CC32C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33CF2D-0B16-C64A-9504-13689605AD71}" type="datetime1">
              <a:rPr lang="ru-RU" smtClean="0"/>
              <a:t>20.03.2026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C9FB52-E08E-B7ED-A698-5FD454A13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2D32AB-DCA3-DA0A-5294-EAB50F493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9408824"/>
      </p:ext>
    </p:extLst>
  </p:cSld>
  <p:clrMapOvr>
    <a:masterClrMapping/>
  </p:clrMapOvr>
  <p:transition spd="slow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C31BED-4643-84FE-C5D9-2DD79F8A0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CBBD520-4BA3-09B2-19D9-E38026AFE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8A3245-CAF1-87D0-F47C-A14079CA3D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0508C-8341-CB41-9A35-963B4336901A}" type="datetime1">
              <a:rPr lang="ru-RU" smtClean="0"/>
              <a:t>20.03.2026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8AF0FA-BB91-F253-123D-110D4404B3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37C39E-5368-3EC3-EFBD-1933AFC225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753922595"/>
      </p:ext>
    </p:extLst>
  </p:cSld>
  <p:clrMapOvr>
    <a:masterClrMapping/>
  </p:clrMapOvr>
  <p:transition spd="slow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9844010-1179-6DA4-AE25-3A0D60CFE8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1175847-64B0-91EE-C7D3-7EC759A3ED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CAB151-B517-FDD6-E2D0-193C81A12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520DB-34A3-CC4B-B883-34F61092742F}" type="datetime1">
              <a:rPr lang="ru-RU" smtClean="0"/>
              <a:t>20.03.2026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D33205-7579-F408-EFA4-406672C98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40CAEF-34DB-6C32-6468-D58AC4038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179504837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2F4E68B2-536E-B2A8-0785-11C22B3BC0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7070" y="5660131"/>
            <a:ext cx="8834930" cy="1216545"/>
          </a:xfrm>
          <a:prstGeom prst="rect">
            <a:avLst/>
          </a:prstGeom>
        </p:spPr>
      </p:pic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247E3093-A6AC-3F5F-E725-50E8FE4713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185160"/>
          </a:xfrm>
          <a:prstGeom prst="rect">
            <a:avLst/>
          </a:prstGeom>
        </p:spPr>
      </p:pic>
      <p:sp>
        <p:nvSpPr>
          <p:cNvPr id="7" name="Triangle 6">
            <a:extLst>
              <a:ext uri="{FF2B5EF4-FFF2-40B4-BE49-F238E27FC236}">
                <a16:creationId xmlns:a16="http://schemas.microsoft.com/office/drawing/2014/main" id="{28473ADB-510C-2812-D343-F5CE561D4D83}"/>
              </a:ext>
            </a:extLst>
          </p:cNvPr>
          <p:cNvSpPr/>
          <p:nvPr userDrawn="1"/>
        </p:nvSpPr>
        <p:spPr>
          <a:xfrm>
            <a:off x="1" y="5862918"/>
            <a:ext cx="1108038" cy="1013758"/>
          </a:xfrm>
          <a:prstGeom prst="triangle">
            <a:avLst>
              <a:gd name="adj" fmla="val 0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D6DA18-B14F-CAC2-450B-DCE653AC8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rgbClr val="0070C0"/>
                </a:solidFill>
                <a:latin typeface="Panton Bold" panose="00000800000000000000" pitchFamily="2" charset="-52"/>
              </a:defRPr>
            </a:lvl1pPr>
          </a:lstStyle>
          <a:p>
            <a:r>
              <a:rPr lang="en-GB" dirty="0"/>
              <a:t>Click to edit Master title style</a:t>
            </a:r>
            <a:endParaRPr lang="x-non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E8232C-212D-344F-C183-7A2ED16E35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80124"/>
            <a:ext cx="10515600" cy="4351338"/>
          </a:xfrm>
        </p:spPr>
        <p:txBody>
          <a:bodyPr/>
          <a:lstStyle>
            <a:lvl1pPr>
              <a:defRPr>
                <a:solidFill>
                  <a:srgbClr val="0DADCE"/>
                </a:solidFill>
                <a:latin typeface="Panton" panose="00000500000000000000" pitchFamily="2" charset="-52"/>
              </a:defRPr>
            </a:lvl1pPr>
            <a:lvl2pPr>
              <a:defRPr>
                <a:solidFill>
                  <a:srgbClr val="0DADCE"/>
                </a:solidFill>
                <a:latin typeface="Panton" panose="00000500000000000000" pitchFamily="2" charset="-52"/>
              </a:defRPr>
            </a:lvl2pPr>
            <a:lvl3pPr>
              <a:defRPr>
                <a:solidFill>
                  <a:srgbClr val="0DADCE"/>
                </a:solidFill>
                <a:latin typeface="Panton" panose="00000500000000000000" pitchFamily="2" charset="-52"/>
              </a:defRPr>
            </a:lvl3pPr>
            <a:lvl4pPr>
              <a:defRPr>
                <a:solidFill>
                  <a:srgbClr val="0DADCE"/>
                </a:solidFill>
                <a:latin typeface="Panton" panose="00000500000000000000" pitchFamily="2" charset="-52"/>
              </a:defRPr>
            </a:lvl4pPr>
            <a:lvl5pPr>
              <a:defRPr>
                <a:solidFill>
                  <a:srgbClr val="0DADCE"/>
                </a:solidFill>
                <a:latin typeface="Panton" panose="00000500000000000000" pitchFamily="2" charset="-52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x-non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86625F-2310-61BC-D902-07E52B944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4FC2F0-3A5B-6C04-1FA3-9077EB3A19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543" y="6420898"/>
            <a:ext cx="2743200" cy="365125"/>
          </a:xfrm>
        </p:spPr>
        <p:txBody>
          <a:bodyPr/>
          <a:lstStyle>
            <a:lvl1pPr algn="l">
              <a:defRPr lang="x-none" sz="2400" b="1" i="0" kern="1200" smtClean="0">
                <a:solidFill>
                  <a:schemeClr val="bg1"/>
                </a:solidFill>
                <a:latin typeface="Panton SemiBold" pitchFamily="2" charset="77"/>
                <a:ea typeface="+mn-ea"/>
                <a:cs typeface="+mn-cs"/>
              </a:defRPr>
            </a:lvl1pPr>
          </a:lstStyle>
          <a:p>
            <a:fld id="{D510D72B-6434-DC4A-A382-951B0FCB8A9C}" type="slidenum">
              <a:rPr lang="x-none" smtClean="0"/>
              <a:pPr/>
              <a:t>‹#›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683504603"/>
      </p:ext>
    </p:extLst>
  </p:cSld>
  <p:clrMapOvr>
    <a:masterClrMapping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1D59E-59A6-190D-EDBA-B205F4EE9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453E92-4D60-66C4-E536-D519E4E499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A9EB1E-32E1-D677-94C8-237A104088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62609C-720D-694C-BFFD-A2181055E089}" type="datetime1">
              <a:rPr lang="ru-RU" smtClean="0"/>
              <a:t>20.03.2026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19B6D-444A-1393-E517-D48FDFB328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442F2B-AC9F-0632-302D-5CA739B20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180099310"/>
      </p:ext>
    </p:extLst>
  </p:cSld>
  <p:clrMapOvr>
    <a:masterClrMapping/>
  </p:clrMapOvr>
  <p:transition spd="slow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15683-D2D8-B583-1F6E-36F1EB570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EA5ADD-DFE4-92CB-4C49-0D795F4668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865892-2FF0-BFF0-5E48-D607828895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DFAF0D-B720-2E83-D112-0E88260985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B9E199-48A2-274F-A593-E3CC015B076C}" type="datetime1">
              <a:rPr lang="ru-RU" smtClean="0"/>
              <a:t>20.03.2026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CE516B-DCD4-3A8B-8483-37D90F9AC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3B0999-E53D-EDCC-5BDF-583FDA0E8D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063711649"/>
      </p:ext>
    </p:extLst>
  </p:cSld>
  <p:clrMapOvr>
    <a:masterClrMapping/>
  </p:clrMapOvr>
  <p:transition spd="slow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DE8489-31A3-9440-1C55-02E75A6285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F582E4-F836-E784-FA27-09D177D935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8A5789-148E-9F6E-FC72-43407D482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032A60-47B8-0026-2930-2207ED78B86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FDBEDE4-315F-EE3B-1F29-B57CAEC2AF9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9761EF8-ADC1-3495-42DF-EC92FD03F3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2468B-2FEF-334A-843C-F44DCBA5EE0B}" type="datetime1">
              <a:rPr lang="ru-RU" smtClean="0"/>
              <a:t>20.03.2026</a:t>
            </a:fld>
            <a:endParaRPr lang="x-non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BB68231-9521-6BA0-8A88-FB539AE6FD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85EDAFF-E90C-8B38-9DC4-A8AC38D4BE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048291566"/>
      </p:ext>
    </p:extLst>
  </p:cSld>
  <p:clrMapOvr>
    <a:masterClrMapping/>
  </p:clrMapOvr>
  <p:transition spd="slow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04C2C-A7CA-5117-CE55-5317120CF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DA5EE9-B7C6-D85F-8DD9-68B9F3B1E6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2B1EF9-C5D7-B84F-AC15-4F6FDB7BBDC5}" type="datetime1">
              <a:rPr lang="ru-RU" smtClean="0"/>
              <a:t>20.03.2026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6F588E-5A5A-331B-8BD8-18E00BAA2C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DBD13B-73CF-7D82-0519-EFA227B47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736188168"/>
      </p:ext>
    </p:extLst>
  </p:cSld>
  <p:clrMapOvr>
    <a:masterClrMapping/>
  </p:clrMapOvr>
  <p:transition spd="slow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0CC518-079C-627F-8DF9-CBDB4217BF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1547B6-EA39-8042-9217-F9DC3B0D9B50}" type="datetime1">
              <a:rPr lang="ru-RU" smtClean="0"/>
              <a:t>20.03.2026</a:t>
            </a:fld>
            <a:endParaRPr lang="x-non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4DD6F4-EC50-4250-1309-79C8F15B49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8E8B08-78BF-24E4-DEE9-80E3353BC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168132490"/>
      </p:ext>
    </p:extLst>
  </p:cSld>
  <p:clrMapOvr>
    <a:masterClrMapping/>
  </p:clrMapOvr>
  <p:transition spd="slow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FC1678-2182-3E22-B3E5-EE71E793AC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7DD111-85A4-7F36-7CAC-11E4464751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B13F9B-7583-F6C5-4571-5F8DC1302AA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671CA2-F058-C7FA-E2FA-6C187C1A23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5E198C-9BDC-AB48-88EE-AAC94F81C127}" type="datetime1">
              <a:rPr lang="ru-RU" smtClean="0"/>
              <a:t>20.03.2026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8FF8E9-7DAD-EB64-6621-12FB8A2CA2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DCB3F1-4E20-E759-2C0C-EF198A52D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083504544"/>
      </p:ext>
    </p:extLst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D4D603-C410-747E-88B1-ED622578CC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28DC91F-B272-7388-D12C-CD8A8D226A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BD80DE-757F-5032-DB71-BEC259AB33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9F18109-8B49-30CF-AF84-B9EBA3302B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EDA1B-A981-F143-80C0-75B98CAFCFE7}" type="datetime1">
              <a:rPr lang="ru-RU" smtClean="0"/>
              <a:t>20.03.2026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515932-0799-4ED2-08AD-CF613C7112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957964-A3C7-BC23-479A-65B64DC3CC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292394601"/>
      </p:ext>
    </p:extLst>
  </p:cSld>
  <p:clrMapOvr>
    <a:masterClrMapping/>
  </p:clrMapOvr>
  <p:transition spd="slow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39336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Слайд think-cell" r:id="rId15" imgW="425" imgH="424" progId="TCLayout.ActiveDocument.1">
                  <p:embed/>
                </p:oleObj>
              </mc:Choice>
              <mc:Fallback>
                <p:oleObj name="Слайд think-cell" r:id="rId1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EEF2EA8-CAAE-3295-E0DF-8024A11B5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B562CE-BFEC-D48B-9DF2-76980566E3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801F99-85A3-B4E0-8F5B-3C1D4EFA71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FAFDAC-BD23-BE48-BEA2-478DB56F806E}" type="datetime1">
              <a:rPr lang="ru-RU" smtClean="0"/>
              <a:t>20.03.2026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5A057E-B060-6EE4-0723-D4AFB7FBA6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BA8FE2-6CAB-4B5F-533B-C998B2C4C1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636224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>
    <p:wipe/>
  </p:transition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1180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riangle 8">
            <a:extLst>
              <a:ext uri="{FF2B5EF4-FFF2-40B4-BE49-F238E27FC236}">
                <a16:creationId xmlns:a16="http://schemas.microsoft.com/office/drawing/2014/main" id="{55628F9E-C0AA-9EE9-4B1D-01223002A1E5}"/>
              </a:ext>
            </a:extLst>
          </p:cNvPr>
          <p:cNvSpPr/>
          <p:nvPr/>
        </p:nvSpPr>
        <p:spPr>
          <a:xfrm rot="1533917">
            <a:off x="7206760" y="4199772"/>
            <a:ext cx="6835966" cy="4496788"/>
          </a:xfrm>
          <a:prstGeom prst="triangle">
            <a:avLst>
              <a:gd name="adj" fmla="val 66870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6ADCCA7-D1FB-F0AD-520B-3224EBB5F4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91575" y="6307888"/>
            <a:ext cx="3202546" cy="365125"/>
          </a:xfrm>
          <a:ln>
            <a:noFill/>
          </a:ln>
        </p:spPr>
        <p:txBody>
          <a:bodyPr/>
          <a:lstStyle/>
          <a:p>
            <a:pPr algn="r"/>
            <a:endParaRPr lang="x-none" sz="2800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Panton" pitchFamily="2" charset="77"/>
            </a:endParaRPr>
          </a:p>
        </p:txBody>
      </p:sp>
      <p:sp>
        <p:nvSpPr>
          <p:cNvPr id="6" name="Подзаголовок 2">
            <a:extLst>
              <a:ext uri="{FF2B5EF4-FFF2-40B4-BE49-F238E27FC236}">
                <a16:creationId xmlns:a16="http://schemas.microsoft.com/office/drawing/2014/main" id="{50A908D2-AF89-4F7B-80F4-1FA3B5C750A4}"/>
              </a:ext>
            </a:extLst>
          </p:cNvPr>
          <p:cNvSpPr txBox="1">
            <a:spLocks/>
          </p:cNvSpPr>
          <p:nvPr/>
        </p:nvSpPr>
        <p:spPr>
          <a:xfrm>
            <a:off x="477079" y="3519055"/>
            <a:ext cx="10274048" cy="29833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</a:pPr>
            <a:endParaRPr lang="ru-RU" sz="3600" dirty="0">
              <a:solidFill>
                <a:srgbClr val="1081C5"/>
              </a:solidFill>
              <a:latin typeface="Panton" panose="00000500000000000000" pitchFamily="2" charset="-52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2571861-A65C-4DEC-8060-AB371FF250E3}"/>
              </a:ext>
            </a:extLst>
          </p:cNvPr>
          <p:cNvSpPr/>
          <p:nvPr/>
        </p:nvSpPr>
        <p:spPr>
          <a:xfrm>
            <a:off x="304800" y="3426069"/>
            <a:ext cx="11573691" cy="175432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5400" dirty="0">
                <a:solidFill>
                  <a:srgbClr val="243D99"/>
                </a:solidFill>
                <a:latin typeface="Panton Bold" panose="00000800000000000000" pitchFamily="2" charset="-52"/>
              </a:rPr>
              <a:t>КОНКУРС </a:t>
            </a:r>
            <a:r>
              <a:rPr lang="ru-RU" sz="5400" dirty="0" smtClean="0">
                <a:solidFill>
                  <a:srgbClr val="243D99"/>
                </a:solidFill>
                <a:latin typeface="Panton Bold" panose="00000800000000000000" pitchFamily="2" charset="-52"/>
              </a:rPr>
              <a:t/>
            </a:r>
            <a:br>
              <a:rPr lang="ru-RU" sz="5400" dirty="0" smtClean="0">
                <a:solidFill>
                  <a:srgbClr val="243D99"/>
                </a:solidFill>
                <a:latin typeface="Panton Bold" panose="00000800000000000000" pitchFamily="2" charset="-52"/>
              </a:rPr>
            </a:br>
            <a:r>
              <a:rPr lang="ru-RU" sz="5400" dirty="0" smtClean="0">
                <a:solidFill>
                  <a:srgbClr val="243D99"/>
                </a:solidFill>
                <a:latin typeface="Panton Bold" panose="00000800000000000000" pitchFamily="2" charset="-52"/>
              </a:rPr>
              <a:t>«ДИРЕКТОР ГОДА-2026»</a:t>
            </a:r>
            <a:endParaRPr lang="ru-RU" sz="5400" dirty="0">
              <a:solidFill>
                <a:srgbClr val="243D99"/>
              </a:solidFill>
              <a:latin typeface="Panton Bold" panose="000008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58101831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5325" y="984774"/>
            <a:ext cx="10515600" cy="4351338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295"/>
          <a:stretch/>
        </p:blipFill>
        <p:spPr>
          <a:xfrm>
            <a:off x="0" y="1"/>
            <a:ext cx="12192000" cy="6939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22038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8125" y="158214"/>
            <a:ext cx="12786868" cy="6699786"/>
          </a:xfr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pPr/>
              <a:t>11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17732931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02"/>
          <a:stretch/>
        </p:blipFill>
        <p:spPr>
          <a:xfrm>
            <a:off x="-422515" y="213772"/>
            <a:ext cx="12805015" cy="6720427"/>
          </a:xfr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pPr/>
              <a:t>12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2624929504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5325" y="984774"/>
            <a:ext cx="10515600" cy="4351338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9536"/>
            <a:ext cx="12192000" cy="540945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606857" y="274761"/>
            <a:ext cx="497828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 smtClean="0"/>
              <a:t>НАХОДИМ САЙТ КОНКУРСА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414586072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5325" y="984774"/>
            <a:ext cx="10515600" cy="4351338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7034"/>
            <a:ext cx="12192000" cy="629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27085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5325" y="984774"/>
            <a:ext cx="10515600" cy="4351338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09550"/>
            <a:ext cx="12376671" cy="6648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10376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5325" y="984774"/>
            <a:ext cx="10515600" cy="4351338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0312"/>
            <a:ext cx="12192000" cy="664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32101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5325" y="984774"/>
            <a:ext cx="10515600" cy="4351338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5750"/>
            <a:ext cx="12249203" cy="6572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61861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5325" y="984774"/>
            <a:ext cx="10515600" cy="4351338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7650"/>
            <a:ext cx="12192000" cy="661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50211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5325" y="984774"/>
            <a:ext cx="10515600" cy="4351338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0500"/>
            <a:ext cx="12192000" cy="666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42871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5325" y="984774"/>
            <a:ext cx="10515600" cy="4351338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50"/>
            <a:ext cx="12192000" cy="668655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143375" y="295305"/>
            <a:ext cx="26479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</a:rPr>
              <a:t>Создание АРХИВА</a:t>
            </a:r>
            <a:endParaRPr lang="ru-RU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43376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89</TotalTime>
  <Words>13</Words>
  <Application>Microsoft Office PowerPoint</Application>
  <PresentationFormat>Широкоэкранный</PresentationFormat>
  <Paragraphs>5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0" baseType="lpstr">
      <vt:lpstr>Panton</vt:lpstr>
      <vt:lpstr>Calibri Light</vt:lpstr>
      <vt:lpstr>Panton Bold</vt:lpstr>
      <vt:lpstr>Arial</vt:lpstr>
      <vt:lpstr>Calibri</vt:lpstr>
      <vt:lpstr>Panton SemiBold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ОКЛАД    «О ходе подготовки образовательных организаций  к новому 2022-2023 учебному году»</dc:title>
  <dc:creator>Иванова Вероника Вадимовна</dc:creator>
  <cp:lastModifiedBy>Administrator</cp:lastModifiedBy>
  <cp:revision>283</cp:revision>
  <cp:lastPrinted>2026-02-09T10:47:42Z</cp:lastPrinted>
  <dcterms:created xsi:type="dcterms:W3CDTF">2022-07-23T09:53:44Z</dcterms:created>
  <dcterms:modified xsi:type="dcterms:W3CDTF">2026-03-20T07:33:21Z</dcterms:modified>
</cp:coreProperties>
</file>